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84" y="63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0/10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0/10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27CE85A-E070-4F84-879B-1F7843CA19C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cuperação até 40% do ar de sopro</a:t>
            </a:r>
            <a:endParaRPr lang="pt-B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ARK: Sistema de recuperação de ar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timização de </a:t>
            </a:r>
            <a:r>
              <a:rPr lang="en-US" sz="800" kern="0" dirty="0">
                <a:solidFill>
                  <a:srgbClr val="000000"/>
                </a:solidFill>
              </a:rPr>
              <a:t>custos, </a:t>
            </a:r>
            <a:r>
              <a:rPr lang="en-US" sz="800" kern="0">
                <a:solidFill>
                  <a:srgbClr val="000000"/>
                </a:solidFill>
              </a:rPr>
              <a:t>Sustentabilidade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Univers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1005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Até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40% </a:t>
                      </a:r>
                      <a:r>
                        <a:rPr lang="en-US" sz="1200" dirty="0"/>
                        <a:t>de ar de sopro recuperado e reutilizad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Retorno do investimento em apenas 12 meses-24 mese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A solicitação dos compressores também reduzida o que resulta em uma economia considerável de eletricidade 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kit de recuperação de ar permite recuperar uma grande quantidade de ar, a qual sem ele se perderia, reciclando o mesmo para uso na produção, reduzindo assim o consumo de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ergia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ste ar recuperado é a seguir usado para produzir 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r de </a:t>
                      </a:r>
                      <a:r>
                        <a:rPr kumimoji="0" lang="pt-BR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é</a:t>
                      </a:r>
                      <a:r>
                        <a:rPr kumimoji="0" lang="pt-B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-sopro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r de serviço para acionar a roda de sopro </a:t>
                      </a:r>
                      <a:br>
                        <a:rPr lang="pt-BR" sz="1000" dirty="0"/>
                      </a:br>
                      <a:r>
                        <a:rPr kumimoji="0" lang="pt-B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(estiramento e pistões de injetores)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ar em excesso também pode alimentar a rede de ar da fábrica </a:t>
                      </a:r>
                      <a:br>
                        <a:rPr lang="pt-BR" sz="1000" dirty="0"/>
                      </a:br>
                      <a:r>
                        <a:rPr kumimoji="0" lang="pt-B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estinada a </a:t>
                      </a:r>
                      <a:r>
                        <a:rPr kumimoji="0" lang="pt-B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utras aplicações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 opção recuperação de ar não é compatível com os equipamentos </a:t>
                      </a:r>
                      <a:r>
                        <a:rPr kumimoji="0" lang="pt-B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edis</a:t>
                      </a: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por motivos de higiene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4653136"/>
            <a:ext cx="1132614" cy="986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BA13D7CF-F974-4C1E-BDA2-C75A1E299772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7094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5</TotalTime>
  <Words>124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Recuperação até 40% do ar de sopr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21</cp:revision>
  <dcterms:created xsi:type="dcterms:W3CDTF">2017-06-28T07:21:44Z</dcterms:created>
  <dcterms:modified xsi:type="dcterms:W3CDTF">2019-10-10T13:5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30:25.7103081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